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338" r:id="rId2"/>
    <p:sldId id="340" r:id="rId3"/>
    <p:sldId id="339" r:id="rId4"/>
    <p:sldId id="341" r:id="rId5"/>
    <p:sldId id="342" r:id="rId6"/>
    <p:sldId id="352" r:id="rId7"/>
    <p:sldId id="347" r:id="rId8"/>
    <p:sldId id="336" r:id="rId9"/>
    <p:sldId id="322" r:id="rId10"/>
    <p:sldId id="343" r:id="rId11"/>
    <p:sldId id="345" r:id="rId12"/>
    <p:sldId id="348" r:id="rId13"/>
    <p:sldId id="349" r:id="rId14"/>
    <p:sldId id="351" r:id="rId15"/>
    <p:sldId id="328" r:id="rId16"/>
    <p:sldId id="344" r:id="rId17"/>
    <p:sldId id="270" r:id="rId18"/>
  </p:sldIdLst>
  <p:sldSz cx="12192000" cy="6858000"/>
  <p:notesSz cx="6934200" cy="9280525"/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s, Subir" initials="DS" lastIdx="8" clrIdx="0">
    <p:extLst>
      <p:ext uri="{19B8F6BF-5375-455C-9EA6-DF929625EA0E}">
        <p15:presenceInfo xmlns:p15="http://schemas.microsoft.com/office/powerpoint/2012/main" userId="S-1-5-21-2516362485-2315034880-3496289929-2358" providerId="AD"/>
      </p:ext>
    </p:extLst>
  </p:cmAuthor>
  <p:cmAuthor id="2" name="singh" initials="SRP" lastIdx="9" clrIdx="1">
    <p:extLst>
      <p:ext uri="{19B8F6BF-5375-455C-9EA6-DF929625EA0E}">
        <p15:presenceInfo xmlns:p15="http://schemas.microsoft.com/office/powerpoint/2012/main" userId="singh" providerId="None"/>
      </p:ext>
    </p:extLst>
  </p:cmAuthor>
  <p:cmAuthor id="3" name="Rege, Kiran" initials="RK" lastIdx="1" clrIdx="2">
    <p:extLst>
      <p:ext uri="{19B8F6BF-5375-455C-9EA6-DF929625EA0E}">
        <p15:presenceInfo xmlns:p15="http://schemas.microsoft.com/office/powerpoint/2012/main" userId="S-1-5-21-1657834146-1657363379-822624550-87148" providerId="AD"/>
      </p:ext>
    </p:extLst>
  </p:cmAuthor>
  <p:cmAuthor id="4" name="Shaikh, Viqar A" initials="SVA" lastIdx="1" clrIdx="3">
    <p:extLst>
      <p:ext uri="{19B8F6BF-5375-455C-9EA6-DF929625EA0E}">
        <p15:presenceInfo xmlns:p15="http://schemas.microsoft.com/office/powerpoint/2012/main" userId="S-1-5-21-2516362485-2315034880-3496289929-2441" providerId="AD"/>
      </p:ext>
    </p:extLst>
  </p:cmAuthor>
  <p:cmAuthor id="5" name="John Wullert" initials="JRWII" lastIdx="11" clrIdx="4">
    <p:extLst>
      <p:ext uri="{19B8F6BF-5375-455C-9EA6-DF929625EA0E}">
        <p15:presenceInfo xmlns:p15="http://schemas.microsoft.com/office/powerpoint/2012/main" userId="John Wuller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24" autoAdjust="0"/>
    <p:restoredTop sz="86410" autoAdjust="0"/>
  </p:normalViewPr>
  <p:slideViewPr>
    <p:cSldViewPr>
      <p:cViewPr varScale="1">
        <p:scale>
          <a:sx n="100" d="100"/>
          <a:sy n="100" d="100"/>
        </p:scale>
        <p:origin x="1272" y="39"/>
      </p:cViewPr>
      <p:guideLst>
        <p:guide orient="horz" pos="2160"/>
        <p:guide pos="3840"/>
      </p:guideLst>
    </p:cSldViewPr>
  </p:slideViewPr>
  <p:outlineViewPr>
    <p:cViewPr varScale="1">
      <p:scale>
        <a:sx n="170" d="200"/>
        <a:sy n="170" d="2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3834" y="4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475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7CCAAF-252C-4847-8D16-EDD6B40E4912}" type="datetimeFigureOut">
              <a:rPr lang="en-US" smtClean="0"/>
              <a:pPr/>
              <a:t>6/9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475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0"/>
            <a:ext cx="6934200" cy="92805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640388" y="96838"/>
            <a:ext cx="639762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doc.: IEEE 802.11-yy/xxxxr0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54050" y="96838"/>
            <a:ext cx="1060450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Month Year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385763" y="701675"/>
            <a:ext cx="6161087" cy="34671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4763" cy="4175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mtClean="0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357813" y="8985250"/>
            <a:ext cx="92233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John Doe, Some Company</a:t>
            </a:r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222625" y="8985250"/>
            <a:ext cx="511175" cy="363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Page </a:t>
            </a:r>
            <a:fld id="{47A7FEEB-9CD2-43FE-843C-C5350BEACB4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22313" y="8985250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23900" y="8983663"/>
            <a:ext cx="54864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dirty="0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47700" y="296863"/>
            <a:ext cx="56388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yy/x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ohn Doe, Some Compa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Page </a:t>
            </a:r>
            <a:fld id="{465D53FD-DB5F-4815-BF01-6488A8FBD18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+mn-cs"/>
            </a:endParaRPr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420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dirty="0" smtClean="0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dirty="0" smtClean="0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en-US" dirty="0" smtClean="0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47A7FEEB-9CD2-43FE-843C-C5350BEACB4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3772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dirty="0" smtClean="0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dirty="0" smtClean="0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en-US" dirty="0" smtClean="0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47A7FEEB-9CD2-43FE-843C-C5350BEACB4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48964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dirty="0"/>
              <a:t>doc.: IEEE 802.11-yy/x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 dirty="0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 dirty="0"/>
              <a:t>John Doe, Some Compa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 dirty="0"/>
              <a:t>Page </a:t>
            </a:r>
            <a:fld id="{E6AF579C-E269-44CC-A9F4-B7D1E2EA3836}" type="slidenum">
              <a:rPr lang="en-US"/>
              <a:pPr/>
              <a:t>7</a:t>
            </a:fld>
            <a:endParaRPr lang="en-US" dirty="0"/>
          </a:p>
        </p:txBody>
      </p:sp>
      <p:sp>
        <p:nvSpPr>
          <p:cNvPr id="204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384175" y="701675"/>
            <a:ext cx="6165850" cy="3468688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6709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dirty="0" smtClean="0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dirty="0" smtClean="0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en-US" dirty="0" smtClean="0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47A7FEEB-9CD2-43FE-843C-C5350BEACB4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5312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dirty="0" smtClean="0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dirty="0" smtClean="0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en-US" dirty="0" smtClean="0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47A7FEEB-9CD2-43FE-843C-C5350BEACB4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9831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dirty="0" smtClean="0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dirty="0" smtClean="0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en-US" dirty="0" smtClean="0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47A7FEEB-9CD2-43FE-843C-C5350BEACB4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6292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dirty="0" smtClean="0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dirty="0" smtClean="0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en-US" dirty="0" smtClean="0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47A7FEEB-9CD2-43FE-843C-C5350BEACB4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9264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dirty="0"/>
              <a:t>doc.: IEEE 802.11-yy/x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 dirty="0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 dirty="0"/>
              <a:t>John Doe, Some Compa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 dirty="0"/>
              <a:t>Page </a:t>
            </a:r>
            <a:fld id="{E6AF579C-E269-44CC-A9F4-B7D1E2EA3836}" type="slidenum">
              <a:rPr lang="en-US"/>
              <a:pPr/>
              <a:t>17</a:t>
            </a:fld>
            <a:endParaRPr lang="en-US" dirty="0"/>
          </a:p>
        </p:txBody>
      </p:sp>
      <p:sp>
        <p:nvSpPr>
          <p:cNvPr id="204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384175" y="701675"/>
            <a:ext cx="6165850" cy="3468688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727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DE40C9FC-4879-4F20-9ECA-A574A90476B7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440F5867-744E-4AA6-B0ED-4C44D2DFBB7B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idx="14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3ABCC52B-A3F7-440B-BBF2-55191E6E7773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1" y="1981201"/>
            <a:ext cx="5077884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484" y="1981201"/>
            <a:ext cx="5080000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1CD163DD-D5E7-41DA-95F2-71530C24F8C3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69B99EC4-A1FB-4C79-B9A5-C1FFD5A90380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06B781AF-4CCF-49B0-A572-DE54FBE5D942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F5D8E26B-7BCF-4D25-9C89-0168A6618F18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6B5E41C2-EF12-4EF2-8280-F2B4208277C2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1" y="685801"/>
            <a:ext cx="2588684" cy="54086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85801"/>
            <a:ext cx="7569200" cy="5408613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9B0D65C8-A0CA-4DDA-83BB-897866218593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4401" y="685801"/>
            <a:ext cx="10361084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1" y="1981201"/>
            <a:ext cx="10361084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the outline text format</a:t>
            </a:r>
          </a:p>
          <a:p>
            <a:pPr lvl="1"/>
            <a:r>
              <a:rPr lang="en-GB" dirty="0" smtClean="0"/>
              <a:t>Second Outline Level</a:t>
            </a:r>
          </a:p>
          <a:p>
            <a:pPr lvl="2"/>
            <a:r>
              <a:rPr lang="en-GB" dirty="0" smtClean="0"/>
              <a:t>Third Outline Level</a:t>
            </a:r>
          </a:p>
          <a:p>
            <a:pPr lvl="3"/>
            <a:r>
              <a:rPr lang="en-GB" dirty="0" smtClean="0"/>
              <a:t>Fourth Outline Level</a:t>
            </a:r>
          </a:p>
          <a:p>
            <a:pPr lvl="4"/>
            <a:r>
              <a:rPr lang="en-GB" dirty="0" smtClean="0"/>
              <a:t>Fifth Outline Level</a:t>
            </a:r>
          </a:p>
          <a:p>
            <a:pPr lvl="4"/>
            <a:r>
              <a:rPr lang="en-GB" dirty="0" smtClean="0"/>
              <a:t>Sixth Outline Level</a:t>
            </a:r>
          </a:p>
          <a:p>
            <a:pPr lvl="4"/>
            <a:r>
              <a:rPr lang="en-GB" dirty="0" smtClean="0"/>
              <a:t>Seventh Outline Level</a:t>
            </a:r>
          </a:p>
          <a:p>
            <a:pPr lvl="4"/>
            <a:r>
              <a:rPr lang="en-GB" dirty="0" smtClean="0"/>
              <a:t>Eighth Outline Level</a:t>
            </a:r>
          </a:p>
          <a:p>
            <a:pPr lvl="4"/>
            <a:r>
              <a:rPr lang="en-GB" dirty="0" smtClean="0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5793318" y="6475414"/>
            <a:ext cx="704849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Slide </a:t>
            </a:r>
            <a:fld id="{D09C756B-EB39-4236-ADBB-73052B179AE4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14400" y="609600"/>
            <a:ext cx="103632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 dirty="0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12285" y="6475413"/>
            <a:ext cx="718145" cy="184666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4400" y="6477000"/>
            <a:ext cx="104648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 dirty="0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6686517" y="357166"/>
            <a:ext cx="466728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</a:t>
            </a: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802.11-20-0463/r3</a:t>
            </a:r>
            <a:endParaRPr kumimoji="0" lang="en-GB" sz="1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8" r:id="rId8"/>
    <p:sldLayoutId id="2147483659" r:id="rId9"/>
  </p:sldLayoutIdLst>
  <p:timing>
    <p:tnLst>
      <p:par>
        <p:cTn id="1" dur="indefinite" restart="never" nodeType="tmRoot"/>
      </p:par>
    </p:tnLst>
  </p:timing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ChangeArrowheads="1"/>
          </p:cNvSpPr>
          <p:nvPr>
            <p:ph type="ctrTitle"/>
          </p:nvPr>
        </p:nvSpPr>
        <p:spPr>
          <a:xfrm>
            <a:off x="838200" y="752475"/>
            <a:ext cx="10134600" cy="1100136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 smtClean="0"/>
              <a:t>Priority Access Support Option for NS/EP Services</a:t>
            </a:r>
            <a:endParaRPr lang="en-GB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600200" y="1827212"/>
            <a:ext cx="8534400" cy="476250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 dirty="0"/>
              <a:t>Date:</a:t>
            </a:r>
            <a:r>
              <a:rPr lang="en-GB" sz="2000" b="0" dirty="0"/>
              <a:t> </a:t>
            </a:r>
            <a:r>
              <a:rPr lang="en-GB" sz="2000" b="0" dirty="0" smtClean="0"/>
              <a:t>2020-03-15</a:t>
            </a:r>
            <a:endParaRPr lang="en-GB" sz="2000" b="0" dirty="0"/>
          </a:p>
        </p:txBody>
      </p:sp>
      <p:sp>
        <p:nvSpPr>
          <p:cNvPr id="6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une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93823DB3-BAA4-4F4A-B4B3-ED9ABE70E976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graphicFrame>
        <p:nvGraphicFramePr>
          <p:cNvPr id="3075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61938356"/>
              </p:ext>
            </p:extLst>
          </p:nvPr>
        </p:nvGraphicFramePr>
        <p:xfrm>
          <a:off x="989013" y="3352800"/>
          <a:ext cx="10331450" cy="265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" name="Document" r:id="rId4" imgW="10729895" imgH="2759441" progId="Word.Document.8">
                  <p:embed/>
                </p:oleObj>
              </mc:Choice>
              <mc:Fallback>
                <p:oleObj name="Document" r:id="rId4" imgW="10729895" imgH="2759441" progId="Word.Document.8">
                  <p:embed/>
                  <p:pic>
                    <p:nvPicPr>
                      <p:cNvPr id="307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89013" y="3352800"/>
                        <a:ext cx="10331450" cy="2659063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1143000" y="2667000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rPr>
              <a:t>Authors:</a:t>
            </a:r>
          </a:p>
        </p:txBody>
      </p:sp>
    </p:spTree>
    <p:extLst>
      <p:ext uri="{BB962C8B-B14F-4D97-AF65-F5344CB8AC3E}">
        <p14:creationId xmlns:p14="http://schemas.microsoft.com/office/powerpoint/2010/main" val="24247640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2974" y="713442"/>
            <a:ext cx="10361084" cy="1065213"/>
          </a:xfrm>
        </p:spPr>
        <p:txBody>
          <a:bodyPr/>
          <a:lstStyle/>
          <a:p>
            <a:r>
              <a:rPr lang="en-US" dirty="0" smtClean="0"/>
              <a:t>QoS Control Field Format for IEEE 802.11ax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3000" y="3214270"/>
            <a:ext cx="10361084" cy="311033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 QoS Control fiel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QoS Control field enables </a:t>
            </a:r>
            <a:r>
              <a:rPr lang="en-US" dirty="0" smtClean="0">
                <a:solidFill>
                  <a:schemeClr val="tx1"/>
                </a:solidFill>
              </a:rPr>
              <a:t>non-AP</a:t>
            </a:r>
            <a:r>
              <a:rPr lang="en-US" b="1" dirty="0" smtClean="0">
                <a:solidFill>
                  <a:srgbClr val="C00000"/>
                </a:solidFill>
              </a:rPr>
              <a:t> </a:t>
            </a:r>
            <a:r>
              <a:rPr lang="en-US" dirty="0" smtClean="0"/>
              <a:t>STA to report the buffer status after receiving the Trigger Frame (e.g., BSRP) poll from an AP STA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Non-AP </a:t>
            </a:r>
            <a:r>
              <a:rPr lang="en-US" dirty="0" smtClean="0"/>
              <a:t>STA can send multiple QoS Control fields to indicate requirements for multiple TC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Non-AP </a:t>
            </a:r>
            <a:r>
              <a:rPr lang="en-US" dirty="0" smtClean="0"/>
              <a:t>STA sends </a:t>
            </a:r>
            <a:r>
              <a:rPr lang="en-US" dirty="0"/>
              <a:t>QoS Control field</a:t>
            </a:r>
            <a:r>
              <a:rPr lang="en-US" dirty="0" smtClean="0"/>
              <a:t> with </a:t>
            </a:r>
            <a:r>
              <a:rPr lang="en-US" dirty="0"/>
              <a:t>TID </a:t>
            </a:r>
            <a:r>
              <a:rPr lang="en-US" dirty="0" smtClean="0"/>
              <a:t>and Queue Size in QoS </a:t>
            </a:r>
            <a:r>
              <a:rPr lang="en-US" dirty="0"/>
              <a:t>Data </a:t>
            </a:r>
            <a:r>
              <a:rPr lang="en-US" dirty="0" smtClean="0"/>
              <a:t>or QoS Null frame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TID </a:t>
            </a:r>
            <a:r>
              <a:rPr lang="en-US" dirty="0" smtClean="0">
                <a:solidFill>
                  <a:schemeClr val="tx1"/>
                </a:solidFill>
              </a:rPr>
              <a:t>(4 bits) </a:t>
            </a:r>
            <a:r>
              <a:rPr lang="en-US" dirty="0" smtClean="0"/>
              <a:t>maps to User Priority (UP) value 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UP </a:t>
            </a:r>
            <a:r>
              <a:rPr lang="en-US" dirty="0"/>
              <a:t>Values 0-7 are </a:t>
            </a:r>
            <a:r>
              <a:rPr lang="en-US" dirty="0" smtClean="0"/>
              <a:t>assigned 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/>
              <a:t>V</a:t>
            </a:r>
            <a:r>
              <a:rPr lang="en-US" dirty="0" smtClean="0"/>
              <a:t>alues </a:t>
            </a:r>
            <a:r>
              <a:rPr lang="en-US" dirty="0"/>
              <a:t>from 8 to 15 are not </a:t>
            </a:r>
            <a:r>
              <a:rPr lang="en-US" dirty="0" smtClean="0"/>
              <a:t>used  in  buffer status report in .11ax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40F5867-744E-4AA6-B0ED-4C44D2DFBB7B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21" name="Rectangle 20"/>
          <p:cNvSpPr/>
          <p:nvPr/>
        </p:nvSpPr>
        <p:spPr>
          <a:xfrm>
            <a:off x="4916952" y="1747399"/>
            <a:ext cx="30572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>
                <a:solidFill>
                  <a:srgbClr val="000000"/>
                </a:solidFill>
                <a:latin typeface="Arial" panose="020B0604020202020204" pitchFamily="34" charset="0"/>
              </a:rPr>
              <a:t>QoS Control F</a:t>
            </a:r>
            <a:r>
              <a:rPr lang="en-US" sz="18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ield Format </a:t>
            </a:r>
            <a:endParaRPr lang="en-US" sz="1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2133600" y="2203012"/>
            <a:ext cx="8229487" cy="609600"/>
            <a:chOff x="1678575" y="4572000"/>
            <a:chExt cx="8229487" cy="609600"/>
          </a:xfrm>
        </p:grpSpPr>
        <p:sp>
          <p:nvSpPr>
            <p:cNvPr id="32" name="Rectangle 31"/>
            <p:cNvSpPr/>
            <p:nvPr/>
          </p:nvSpPr>
          <p:spPr bwMode="auto">
            <a:xfrm>
              <a:off x="3050156" y="4572000"/>
              <a:ext cx="1371581" cy="609600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</a:pPr>
              <a:r>
                <a:rPr lang="en-US" sz="1800" dirty="0">
                  <a:solidFill>
                    <a:schemeClr val="tx1"/>
                  </a:solidFill>
                </a:rPr>
                <a:t>1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endParaRPr>
            </a:p>
          </p:txBody>
        </p:sp>
        <p:sp>
          <p:nvSpPr>
            <p:cNvPr id="33" name="Rectangle 32"/>
            <p:cNvSpPr/>
            <p:nvPr/>
          </p:nvSpPr>
          <p:spPr bwMode="auto">
            <a:xfrm>
              <a:off x="5793318" y="4572000"/>
              <a:ext cx="1371581" cy="609600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</a:pPr>
              <a:r>
                <a: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6" charset="0"/>
                  <a:ea typeface="MS Gothic" charset="-128"/>
                </a:rPr>
                <a:t>A-MSDU Present </a:t>
              </a:r>
            </a:p>
          </p:txBody>
        </p:sp>
        <p:sp>
          <p:nvSpPr>
            <p:cNvPr id="34" name="Rectangle 33"/>
            <p:cNvSpPr/>
            <p:nvPr/>
          </p:nvSpPr>
          <p:spPr bwMode="auto">
            <a:xfrm>
              <a:off x="7164900" y="4572000"/>
              <a:ext cx="2743162" cy="609600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800" dirty="0">
                  <a:solidFill>
                    <a:schemeClr val="tx1"/>
                  </a:solidFill>
                </a:rPr>
                <a:t>Queue </a:t>
              </a:r>
              <a:r>
                <a:rPr lang="en-US" sz="1800" dirty="0" smtClean="0">
                  <a:solidFill>
                    <a:schemeClr val="tx1"/>
                  </a:solidFill>
                </a:rPr>
                <a:t>Size</a:t>
              </a:r>
              <a:endParaRPr 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4421737" y="4572000"/>
              <a:ext cx="1371581" cy="609600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800" dirty="0">
                  <a:solidFill>
                    <a:schemeClr val="tx1"/>
                  </a:solidFill>
                </a:rPr>
                <a:t>Ack Policy</a:t>
              </a:r>
            </a:p>
          </p:txBody>
        </p:sp>
        <p:sp>
          <p:nvSpPr>
            <p:cNvPr id="36" name="Rectangle 35"/>
            <p:cNvSpPr/>
            <p:nvPr/>
          </p:nvSpPr>
          <p:spPr bwMode="auto">
            <a:xfrm>
              <a:off x="1678575" y="4572000"/>
              <a:ext cx="1371581" cy="609600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800" dirty="0">
                  <a:solidFill>
                    <a:schemeClr val="tx1"/>
                  </a:solidFill>
                </a:rPr>
                <a:t>TI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64126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606426"/>
            <a:ext cx="9067800" cy="854862"/>
          </a:xfrm>
        </p:spPr>
        <p:txBody>
          <a:bodyPr/>
          <a:lstStyle/>
          <a:p>
            <a:r>
              <a:rPr lang="en-US" dirty="0" smtClean="0"/>
              <a:t>Proposed Approach: Use QoS Control Field  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9216" y="2855342"/>
            <a:ext cx="10805584" cy="361833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Encode priority in QoS Control field TID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Rationale: Only values 0-7 (3 bits) are used to indicate UP (mapped to AC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Proposal: Use one value &gt;7 of 4-bit TID to indicate the need for NS/EP Priority Service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600" dirty="0" smtClean="0"/>
              <a:t>Use TID= 1101 (13) to indicate that the Priority Service is required </a:t>
            </a:r>
            <a:endParaRPr lang="en-US" sz="1600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400" dirty="0" smtClean="0"/>
              <a:t>NS/EP Priority Service non-AP STA sets TID=1101  in QoS control field while sending the buffer status report in response to a BSRP trigger poll frame.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600" dirty="0" smtClean="0"/>
              <a:t>In case non-NS/EP Priority Service  STAs set TID= 1101 in buffer status report, AP will be able to deny the Priority Access based on the authorization informatio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600" dirty="0"/>
              <a:t>If one QoS </a:t>
            </a:r>
            <a:r>
              <a:rPr lang="en-US" sz="1600" dirty="0" smtClean="0"/>
              <a:t>Data or Null frame </a:t>
            </a:r>
            <a:r>
              <a:rPr lang="en-US" sz="1600" dirty="0"/>
              <a:t>within an A-MSDU has as TID of 1101, all other queues are treated as </a:t>
            </a:r>
            <a:r>
              <a:rPr lang="en-US" sz="1600" dirty="0" smtClean="0"/>
              <a:t>priority.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dirty="0" smtClean="0"/>
              <a:t>Impact: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600" dirty="0"/>
              <a:t>L</a:t>
            </a:r>
            <a:r>
              <a:rPr lang="en-US" sz="1600" dirty="0" smtClean="0"/>
              <a:t>egacy STAs will not be able to decode this information but this should not be an issue since MIB can be updated to address the backward compatibility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pPr marL="457200" lvl="1" indent="0"/>
            <a:endParaRPr lang="en-US" sz="1800" dirty="0" smtClean="0"/>
          </a:p>
          <a:p>
            <a:pPr marL="914400" lvl="2" indent="0"/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une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779743" y="1249994"/>
            <a:ext cx="2993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Gothic" charset="-128"/>
                <a:cs typeface="+mn-cs"/>
              </a:rPr>
              <a:t>QoS Control 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Gothic" charset="-128"/>
                <a:cs typeface="+mn-cs"/>
              </a:rPr>
              <a:t>field Format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Gothic" charset="-128"/>
              <a:cs typeface="+mn-cs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1447801" y="1619326"/>
            <a:ext cx="9518452" cy="1077978"/>
            <a:chOff x="1572334" y="2096239"/>
            <a:chExt cx="9183525" cy="940673"/>
          </a:xfrm>
        </p:grpSpPr>
        <p:grpSp>
          <p:nvGrpSpPr>
            <p:cNvPr id="28" name="Group 27"/>
            <p:cNvGrpSpPr/>
            <p:nvPr/>
          </p:nvGrpSpPr>
          <p:grpSpPr>
            <a:xfrm>
              <a:off x="1572334" y="2427312"/>
              <a:ext cx="9183525" cy="609600"/>
              <a:chOff x="1679212" y="2162667"/>
              <a:chExt cx="9183525" cy="609600"/>
            </a:xfrm>
          </p:grpSpPr>
          <p:sp>
            <p:nvSpPr>
              <p:cNvPr id="16" name="Rectangle 15"/>
              <p:cNvSpPr/>
              <p:nvPr/>
            </p:nvSpPr>
            <p:spPr bwMode="auto">
              <a:xfrm>
                <a:off x="3475541" y="2162667"/>
                <a:ext cx="910195" cy="609600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1</a:t>
                </a:r>
              </a:p>
            </p:txBody>
          </p:sp>
          <p:sp>
            <p:nvSpPr>
              <p:cNvPr id="17" name="Rectangle 16"/>
              <p:cNvSpPr/>
              <p:nvPr/>
            </p:nvSpPr>
            <p:spPr bwMode="auto">
              <a:xfrm>
                <a:off x="6430419" y="2162667"/>
                <a:ext cx="1477439" cy="609600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A-MSDU Present </a:t>
                </a:r>
              </a:p>
            </p:txBody>
          </p:sp>
          <p:sp>
            <p:nvSpPr>
              <p:cNvPr id="18" name="Rectangle 17"/>
              <p:cNvSpPr/>
              <p:nvPr/>
            </p:nvSpPr>
            <p:spPr bwMode="auto">
              <a:xfrm>
                <a:off x="7907859" y="2162667"/>
                <a:ext cx="2954878" cy="609600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Queue </a:t>
                </a:r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Size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 bwMode="auto">
              <a:xfrm>
                <a:off x="4385736" y="2162667"/>
                <a:ext cx="2044683" cy="609600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Ack Policy</a:t>
                </a:r>
              </a:p>
            </p:txBody>
          </p:sp>
          <p:sp>
            <p:nvSpPr>
              <p:cNvPr id="20" name="Rectangle 19"/>
              <p:cNvSpPr/>
              <p:nvPr/>
            </p:nvSpPr>
            <p:spPr bwMode="auto">
              <a:xfrm>
                <a:off x="1679212" y="2162667"/>
                <a:ext cx="1823056" cy="604110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endParaRPr>
              </a:p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TID=1101</a:t>
                </a:r>
              </a:p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(</a:t>
                </a:r>
                <a:r>
                  <a:rPr kumimoji="0" lang="en-US" sz="1100" b="0" i="0" u="none" strike="noStrike" kern="120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Priority Service Indicator </a:t>
                </a:r>
                <a:r>
                  <a:rPr kumimoji="0" lang="en-US" sz="1400" b="0" i="0" u="none" strike="noStrike" kern="120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)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2324242" y="2117798"/>
              <a:ext cx="72808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b</a:t>
              </a: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its 0-3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3686416" y="2148370"/>
              <a:ext cx="50847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b</a:t>
              </a: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it 4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730127" y="2142521"/>
              <a:ext cx="50847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b</a:t>
              </a: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it 7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930071" y="2102988"/>
              <a:ext cx="72808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bits 5-6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8869493" y="2096239"/>
              <a:ext cx="81785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bits 8-15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2894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606426"/>
            <a:ext cx="9296400" cy="745737"/>
          </a:xfrm>
        </p:spPr>
        <p:txBody>
          <a:bodyPr/>
          <a:lstStyle/>
          <a:p>
            <a:r>
              <a:rPr lang="en-US" dirty="0" smtClean="0"/>
              <a:t>NS/EP Priority Access Procedures   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3000" y="3902475"/>
            <a:ext cx="10391169" cy="251411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AP polls the STAs using BSRP Trigger Frame to determine data to be sent </a:t>
            </a:r>
            <a:r>
              <a:rPr lang="en-US" sz="2000" dirty="0" smtClean="0"/>
              <a:t>upstream.</a:t>
            </a:r>
            <a:endParaRPr lang="en-US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At time t₁, the NS/EP STA determines </a:t>
            </a:r>
            <a:r>
              <a:rPr lang="en-US" sz="2000" dirty="0" smtClean="0">
                <a:solidFill>
                  <a:schemeClr val="tx1"/>
                </a:solidFill>
              </a:rPr>
              <a:t>the need for priority </a:t>
            </a:r>
            <a:r>
              <a:rPr lang="en-US" sz="2000" dirty="0" smtClean="0"/>
              <a:t>and sets the </a:t>
            </a:r>
            <a:r>
              <a:rPr lang="en-US" sz="2000" dirty="0" smtClean="0">
                <a:solidFill>
                  <a:schemeClr val="tx1"/>
                </a:solidFill>
              </a:rPr>
              <a:t>TID value </a:t>
            </a:r>
            <a:r>
              <a:rPr lang="en-US" sz="2000" dirty="0" smtClean="0"/>
              <a:t>to 1101 of QoS </a:t>
            </a:r>
            <a:r>
              <a:rPr lang="en-US" sz="2000" dirty="0"/>
              <a:t>control </a:t>
            </a:r>
            <a:r>
              <a:rPr lang="en-US" sz="2000" dirty="0" smtClean="0"/>
              <a:t>field </a:t>
            </a:r>
            <a:r>
              <a:rPr lang="en-US" sz="2000" dirty="0"/>
              <a:t>while </a:t>
            </a:r>
            <a:r>
              <a:rPr lang="en-US" sz="2000" dirty="0" smtClean="0"/>
              <a:t>sending the subsequent buffer status report in response to a BSRP trigger frame as an indication to the AP (with which it is associated) that the Priority Access is required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After receiving the Priority Access indication, AP verifies the STA’s authorization information </a:t>
            </a:r>
            <a:r>
              <a:rPr lang="en-US" sz="2000" dirty="0" smtClean="0"/>
              <a:t>(</a:t>
            </a:r>
            <a:r>
              <a:rPr lang="en-US" sz="2000" dirty="0"/>
              <a:t>AP has this knowledge during authentication/association</a:t>
            </a:r>
            <a:r>
              <a:rPr lang="en-US" sz="2000" dirty="0" smtClean="0"/>
              <a:t>) </a:t>
            </a:r>
            <a:endParaRPr lang="en-US" sz="2000" dirty="0"/>
          </a:p>
          <a:p>
            <a:pPr marL="0" indent="0"/>
            <a:endParaRPr lang="en-US" sz="2000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457200" lvl="1" indent="0"/>
            <a:endParaRPr lang="en-US" sz="1800" dirty="0" smtClean="0"/>
          </a:p>
          <a:p>
            <a:pPr marL="914400" lvl="2" indent="0"/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une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572732" y="1663711"/>
            <a:ext cx="10889924" cy="1792278"/>
            <a:chOff x="368281" y="1801244"/>
            <a:chExt cx="10813465" cy="1792278"/>
          </a:xfrm>
        </p:grpSpPr>
        <p:grpSp>
          <p:nvGrpSpPr>
            <p:cNvPr id="42" name="Group 41"/>
            <p:cNvGrpSpPr/>
            <p:nvPr/>
          </p:nvGrpSpPr>
          <p:grpSpPr>
            <a:xfrm>
              <a:off x="368281" y="1853179"/>
              <a:ext cx="10813465" cy="1673596"/>
              <a:chOff x="573508" y="3608061"/>
              <a:chExt cx="10660547" cy="1673596"/>
            </a:xfrm>
          </p:grpSpPr>
          <p:cxnSp>
            <p:nvCxnSpPr>
              <p:cNvPr id="43" name="Straight Connector 42"/>
              <p:cNvCxnSpPr/>
              <p:nvPr/>
            </p:nvCxnSpPr>
            <p:spPr>
              <a:xfrm flipV="1">
                <a:off x="1175656" y="4203360"/>
                <a:ext cx="10058399" cy="2874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/>
                </a:solidFill>
                <a:prstDash val="solid"/>
                <a:miter lim="800000"/>
                <a:headEnd type="none" w="med" len="med"/>
                <a:tailEnd type="triangle" w="med" len="med"/>
              </a:ln>
              <a:effectLst/>
            </p:spPr>
          </p:cxnSp>
          <p:cxnSp>
            <p:nvCxnSpPr>
              <p:cNvPr id="44" name="Straight Connector 43"/>
              <p:cNvCxnSpPr/>
              <p:nvPr/>
            </p:nvCxnSpPr>
            <p:spPr>
              <a:xfrm flipV="1">
                <a:off x="1175655" y="5040627"/>
                <a:ext cx="10058399" cy="5748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/>
                </a:solidFill>
                <a:prstDash val="solid"/>
                <a:miter lim="800000"/>
                <a:headEnd type="none" w="med" len="med"/>
                <a:tailEnd type="triangle" w="med" len="med"/>
              </a:ln>
              <a:effectLst/>
            </p:spPr>
          </p:cxnSp>
          <p:sp>
            <p:nvSpPr>
              <p:cNvPr id="45" name="Rectangle 44"/>
              <p:cNvSpPr/>
              <p:nvPr/>
            </p:nvSpPr>
            <p:spPr>
              <a:xfrm>
                <a:off x="1272813" y="3699588"/>
                <a:ext cx="1449545" cy="440007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1175655" y="3693420"/>
                <a:ext cx="154670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NS/EP</a:t>
                </a:r>
                <a:r>
                  <a:rPr kumimoji="0" lang="en-US" sz="1200" i="0" u="none" strike="noStrike" kern="0" cap="none" spc="0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 STA </a:t>
                </a:r>
                <a:r>
                  <a:rPr kumimoji="0" 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Capability Information</a:t>
                </a:r>
                <a:r>
                  <a:rPr kumimoji="0" lang="en-US" sz="1200" i="0" u="none" strike="noStrike" kern="0" cap="none" spc="0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 </a:t>
                </a:r>
                <a:endParaRPr kumimoji="0" 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endParaRPr>
              </a:p>
            </p:txBody>
          </p:sp>
          <p:sp>
            <p:nvSpPr>
              <p:cNvPr id="47" name="TextBox 46"/>
              <p:cNvSpPr txBox="1"/>
              <p:nvPr/>
            </p:nvSpPr>
            <p:spPr>
              <a:xfrm>
                <a:off x="742404" y="4052345"/>
                <a:ext cx="55734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AP</a:t>
                </a:r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573508" y="4758437"/>
                <a:ext cx="89514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NS/EP STA (EHT) </a:t>
                </a:r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3440699" y="3762128"/>
                <a:ext cx="1140823" cy="430887"/>
              </a:xfrm>
              <a:prstGeom prst="rect">
                <a:avLst/>
              </a:prstGeom>
              <a:noFill/>
              <a:ln w="1905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Frame carrying BSRP Trigger</a:t>
                </a: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6359627" y="3883405"/>
                <a:ext cx="547550" cy="307777"/>
              </a:xfrm>
              <a:prstGeom prst="rect">
                <a:avLst/>
              </a:prstGeom>
              <a:noFill/>
              <a:ln w="1905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Ack</a:t>
                </a: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7099661" y="3608061"/>
                <a:ext cx="1548038" cy="600164"/>
              </a:xfrm>
              <a:prstGeom prst="rect">
                <a:avLst/>
              </a:prstGeom>
              <a:noFill/>
              <a:ln w="1905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Frame Carrying Trigger with RUs allocated to NS/EP</a:t>
                </a:r>
                <a:r>
                  <a:rPr kumimoji="0" lang="en-US" sz="1100" b="0" i="0" u="none" strike="noStrike" kern="0" cap="none" spc="0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 STA </a:t>
                </a:r>
                <a:endPara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endParaRPr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8964237" y="4589160"/>
                <a:ext cx="1159054" cy="430887"/>
              </a:xfrm>
              <a:prstGeom prst="rect">
                <a:avLst/>
              </a:prstGeom>
              <a:noFill/>
              <a:ln w="1905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 EHT TB PPDU with UL Data</a:t>
                </a: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10285035" y="3896012"/>
                <a:ext cx="547550" cy="307777"/>
              </a:xfrm>
              <a:prstGeom prst="rect">
                <a:avLst/>
              </a:prstGeom>
              <a:noFill/>
              <a:ln w="1905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Ack</a:t>
                </a:r>
              </a:p>
            </p:txBody>
          </p:sp>
        </p:grpSp>
        <p:sp>
          <p:nvSpPr>
            <p:cNvPr id="55" name="Rectangle 54"/>
            <p:cNvSpPr/>
            <p:nvPr/>
          </p:nvSpPr>
          <p:spPr>
            <a:xfrm>
              <a:off x="1067900" y="2807000"/>
              <a:ext cx="1470338" cy="440007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965419" y="2784131"/>
              <a:ext cx="16753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rPr>
                <a:t>Capability exchanged</a:t>
              </a:r>
              <a:r>
                <a:rPr kumimoji="0" lang="en-US" sz="120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rPr>
                <a:t> during Association  </a:t>
              </a:r>
              <a:endParaRPr kumimoji="0" 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 bwMode="auto">
            <a:xfrm>
              <a:off x="2971800" y="1801244"/>
              <a:ext cx="0" cy="1787494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8" name="TextBox 57"/>
            <p:cNvSpPr txBox="1"/>
            <p:nvPr/>
          </p:nvSpPr>
          <p:spPr>
            <a:xfrm>
              <a:off x="2819400" y="3285745"/>
              <a:ext cx="1100987" cy="307777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dirty="0" smtClean="0">
                  <a:solidFill>
                    <a:prstClr val="black"/>
                  </a:solidFill>
                  <a:latin typeface="Calibri" panose="020F0502020204030204"/>
                  <a:ea typeface="+mn-ea"/>
                </a:rPr>
                <a:t>Time = t₁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4799333" y="2397103"/>
            <a:ext cx="1525267" cy="769441"/>
          </a:xfrm>
          <a:prstGeom prst="rect">
            <a:avLst/>
          </a:prstGeom>
          <a:noFill/>
          <a:ln w="19050"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Frame carrying BSR in QoS </a:t>
            </a:r>
            <a:r>
              <a:rPr lang="en-US" sz="1100" kern="0" dirty="0" smtClean="0">
                <a:solidFill>
                  <a:prstClr val="black"/>
                </a:solidFill>
                <a:latin typeface="Calibri" panose="020F0502020204030204"/>
                <a:ea typeface="+mn-ea"/>
              </a:rPr>
              <a:t>data and/or null  frame 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with TID value set to</a:t>
            </a:r>
            <a:r>
              <a:rPr kumimoji="0" lang="en-US" sz="11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 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1101</a:t>
            </a:r>
          </a:p>
        </p:txBody>
      </p:sp>
    </p:spTree>
    <p:extLst>
      <p:ext uri="{BB962C8B-B14F-4D97-AF65-F5344CB8AC3E}">
        <p14:creationId xmlns:p14="http://schemas.microsoft.com/office/powerpoint/2010/main" val="2041596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606426"/>
            <a:ext cx="9296400" cy="745737"/>
          </a:xfrm>
        </p:spPr>
        <p:txBody>
          <a:bodyPr/>
          <a:lstStyle/>
          <a:p>
            <a:r>
              <a:rPr lang="en-US" dirty="0" smtClean="0"/>
              <a:t>NS/EP Priority Access Procedures Contd..   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9044" y="1981200"/>
            <a:ext cx="10761133" cy="35052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If </a:t>
            </a:r>
            <a:r>
              <a:rPr lang="en-US" sz="2000" dirty="0"/>
              <a:t>the STA is authorized to obtain the service, AP </a:t>
            </a:r>
            <a:r>
              <a:rPr lang="en-US" sz="2000" dirty="0" smtClean="0"/>
              <a:t>prioritize</a:t>
            </a:r>
            <a:r>
              <a:rPr lang="en-US" sz="2000" dirty="0" smtClean="0">
                <a:solidFill>
                  <a:schemeClr val="tx1"/>
                </a:solidFill>
              </a:rPr>
              <a:t>s</a:t>
            </a:r>
            <a:r>
              <a:rPr lang="en-US" sz="2000" dirty="0" smtClean="0"/>
              <a:t> </a:t>
            </a:r>
            <a:r>
              <a:rPr lang="en-US" sz="2000" dirty="0"/>
              <a:t>the RU allocation to the NS/EP STAs for </a:t>
            </a:r>
            <a:r>
              <a:rPr lang="en-US" sz="2000" dirty="0" smtClean="0"/>
              <a:t>UL/DL transmissions similar to .11ax procedures. RUs can be assigned to one or more NS/EP STAs based on buffer status 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The NS/EP STAs access these resources (slots) to gain the prioritized access </a:t>
            </a:r>
          </a:p>
          <a:p>
            <a:pPr marL="0" indent="0"/>
            <a:r>
              <a:rPr lang="en-US" sz="2000" dirty="0" smtClean="0"/>
              <a:t> 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As long as the </a:t>
            </a:r>
            <a:r>
              <a:rPr lang="en-US" sz="2000" dirty="0">
                <a:solidFill>
                  <a:schemeClr val="tx1"/>
                </a:solidFill>
              </a:rPr>
              <a:t>STA </a:t>
            </a:r>
            <a:r>
              <a:rPr lang="en-US" sz="2000" dirty="0" smtClean="0">
                <a:solidFill>
                  <a:schemeClr val="tx1"/>
                </a:solidFill>
              </a:rPr>
              <a:t>identifies the </a:t>
            </a:r>
            <a:r>
              <a:rPr lang="en-US" sz="2000" dirty="0">
                <a:solidFill>
                  <a:schemeClr val="tx1"/>
                </a:solidFill>
              </a:rPr>
              <a:t>need for priority, it continues to include </a:t>
            </a:r>
            <a:r>
              <a:rPr lang="en-US" sz="2000" dirty="0" smtClean="0">
                <a:solidFill>
                  <a:schemeClr val="tx1"/>
                </a:solidFill>
              </a:rPr>
              <a:t>a QoS </a:t>
            </a:r>
            <a:r>
              <a:rPr lang="en-US" sz="2000" dirty="0">
                <a:solidFill>
                  <a:schemeClr val="tx1"/>
                </a:solidFill>
              </a:rPr>
              <a:t>control field </a:t>
            </a:r>
            <a:r>
              <a:rPr lang="en-US" sz="2000" dirty="0" smtClean="0">
                <a:solidFill>
                  <a:schemeClr val="tx1"/>
                </a:solidFill>
              </a:rPr>
              <a:t>with </a:t>
            </a:r>
            <a:r>
              <a:rPr lang="en-US" sz="2000" dirty="0">
                <a:solidFill>
                  <a:schemeClr val="tx1"/>
                </a:solidFill>
              </a:rPr>
              <a:t>the TID </a:t>
            </a:r>
            <a:r>
              <a:rPr lang="en-US" sz="2000" dirty="0" smtClean="0">
                <a:solidFill>
                  <a:schemeClr val="tx1"/>
                </a:solidFill>
              </a:rPr>
              <a:t>value set </a:t>
            </a:r>
            <a:r>
              <a:rPr lang="en-US" sz="2000" dirty="0">
                <a:solidFill>
                  <a:schemeClr val="tx1"/>
                </a:solidFill>
              </a:rPr>
              <a:t>to </a:t>
            </a:r>
            <a:r>
              <a:rPr lang="en-US" sz="2000" dirty="0" smtClean="0">
                <a:solidFill>
                  <a:schemeClr val="tx1"/>
                </a:solidFill>
              </a:rPr>
              <a:t>1101 in QoS data and/or null frames. If </a:t>
            </a:r>
            <a:r>
              <a:rPr lang="en-US" sz="2000" dirty="0">
                <a:solidFill>
                  <a:schemeClr val="tx1"/>
                </a:solidFill>
              </a:rPr>
              <a:t>it </a:t>
            </a:r>
            <a:r>
              <a:rPr lang="en-US" sz="2000" dirty="0" smtClean="0">
                <a:solidFill>
                  <a:schemeClr val="tx1"/>
                </a:solidFill>
              </a:rPr>
              <a:t>determines that the priority treatment is no </a:t>
            </a:r>
            <a:r>
              <a:rPr lang="en-US" sz="2000" dirty="0">
                <a:solidFill>
                  <a:schemeClr val="tx1"/>
                </a:solidFill>
              </a:rPr>
              <a:t>longer </a:t>
            </a:r>
            <a:r>
              <a:rPr lang="en-US" sz="2000" dirty="0" smtClean="0">
                <a:solidFill>
                  <a:schemeClr val="tx1"/>
                </a:solidFill>
              </a:rPr>
              <a:t>needed, </a:t>
            </a:r>
            <a:r>
              <a:rPr lang="en-US" sz="2000" dirty="0">
                <a:solidFill>
                  <a:schemeClr val="tx1"/>
                </a:solidFill>
              </a:rPr>
              <a:t>it stops including this </a:t>
            </a:r>
            <a:r>
              <a:rPr lang="en-US" sz="2000" dirty="0" smtClean="0">
                <a:solidFill>
                  <a:schemeClr val="tx1"/>
                </a:solidFill>
              </a:rPr>
              <a:t>TID value in the QoS control field</a:t>
            </a:r>
            <a:endParaRPr lang="en-US" sz="2000" dirty="0">
              <a:solidFill>
                <a:schemeClr val="tx1"/>
              </a:solidFill>
            </a:endParaRPr>
          </a:p>
          <a:p>
            <a:pPr marL="0" indent="0"/>
            <a:endParaRPr lang="en-US" sz="2200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457200" lvl="1" indent="0"/>
            <a:endParaRPr lang="en-US" sz="1800" dirty="0" smtClean="0"/>
          </a:p>
          <a:p>
            <a:pPr marL="914400" lvl="2" indent="0"/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une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170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Clarific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BSR containing QoS frame with TID &gt; 7 is proposed to signal that NS/EP non-AP STA requires Priority Access (i.e., to turn the service on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Presence of such frame indicates that data in NS/EP STA buffers should receive priority over other non-AP STA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Absence of such frame indicates that data in NS/EP STA buffers should </a:t>
            </a:r>
            <a:r>
              <a:rPr lang="en-US" sz="1600" dirty="0" smtClean="0">
                <a:solidFill>
                  <a:schemeClr val="tx1"/>
                </a:solidFill>
              </a:rPr>
              <a:t>receive same treatment as other non-AP STAs </a:t>
            </a:r>
            <a:r>
              <a:rPr lang="en-US" sz="1600" dirty="0" smtClean="0"/>
              <a:t> </a:t>
            </a:r>
            <a:endParaRPr lang="en-US" sz="1600" strike="sngStrike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A single TID value signals the need for </a:t>
            </a:r>
            <a:r>
              <a:rPr lang="en-US" sz="1800" dirty="0" smtClean="0">
                <a:solidFill>
                  <a:schemeClr val="tx1"/>
                </a:solidFill>
              </a:rPr>
              <a:t>Priority Access </a:t>
            </a:r>
            <a:r>
              <a:rPr lang="en-US" sz="1800" dirty="0" smtClean="0"/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In particular, it is not mapped to any specific access clas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Mapping of the TID value to an access </a:t>
            </a:r>
            <a:r>
              <a:rPr lang="en-US" sz="1600" dirty="0"/>
              <a:t>c</a:t>
            </a:r>
            <a:r>
              <a:rPr lang="en-US" sz="1600" dirty="0" smtClean="0"/>
              <a:t>lass at the AP STA is an implementation issu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Other QoS data frames reported in BSR use existing TIDs (&lt;7) to indicate the AC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NS/EP Priority Service is not a low latency service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Specific TID value &gt; 7 is TB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Value of 13 is proposed since it is the next highest unused value availabl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May be possible to reuse TID=15 (currently used in .11ax m-BA) by defining  appropriate proced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40F5867-744E-4AA6-B0ED-4C44D2DFBB7B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77294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67580" y="1860483"/>
            <a:ext cx="10134599" cy="370211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Described  a simple approach by which NS/EP Priority Service non-AP STAs can </a:t>
            </a:r>
            <a:r>
              <a:rPr lang="en-US" dirty="0" smtClean="0">
                <a:solidFill>
                  <a:schemeClr val="tx1"/>
                </a:solidFill>
              </a:rPr>
              <a:t>signal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smtClean="0"/>
              <a:t>the AP STA that priority access is required during network conges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Leverages existing BSRP Trigger Fram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Use of one TID value </a:t>
            </a:r>
            <a:r>
              <a:rPr lang="en-US" dirty="0" smtClean="0"/>
              <a:t>in buffer status repor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No other existing mechanisms need to be modified 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Backward compatible   </a:t>
            </a:r>
          </a:p>
          <a:p>
            <a:pPr marL="457200" lvl="1" indent="0"/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F</a:t>
            </a:r>
            <a:r>
              <a:rPr lang="en-US" dirty="0" smtClean="0"/>
              <a:t>eedback and comments ??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40F5867-744E-4AA6-B0ED-4C44D2DFBB7B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44605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6B6F616-FFD2-4AB6-8EAC-43B5F374E0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2742" y="1899219"/>
            <a:ext cx="9906000" cy="404438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Do </a:t>
            </a:r>
            <a:r>
              <a:rPr lang="en-US" dirty="0"/>
              <a:t>you </a:t>
            </a:r>
            <a:r>
              <a:rPr lang="en-US" dirty="0" smtClean="0"/>
              <a:t>support the addition of following text to TGbe SFD?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he </a:t>
            </a:r>
            <a:r>
              <a:rPr lang="en-US" dirty="0"/>
              <a:t>NS/EP Priority </a:t>
            </a:r>
            <a:r>
              <a:rPr lang="en-US" dirty="0" smtClean="0"/>
              <a:t>Service if supported by a  </a:t>
            </a:r>
            <a:r>
              <a:rPr lang="en-US" dirty="0"/>
              <a:t>non-AP </a:t>
            </a:r>
            <a:r>
              <a:rPr lang="en-US" dirty="0" smtClean="0"/>
              <a:t>STA, shall use a TID </a:t>
            </a:r>
            <a:r>
              <a:rPr lang="en-US" dirty="0" smtClean="0"/>
              <a:t>value (TBD) </a:t>
            </a:r>
            <a:r>
              <a:rPr lang="en-US" dirty="0" smtClean="0"/>
              <a:t>that is greater than </a:t>
            </a:r>
            <a:r>
              <a:rPr lang="en-US" dirty="0" smtClean="0"/>
              <a:t>7 </a:t>
            </a:r>
            <a:r>
              <a:rPr lang="en-US" dirty="0" smtClean="0"/>
              <a:t>to </a:t>
            </a:r>
            <a:r>
              <a:rPr lang="en-US" dirty="0"/>
              <a:t>indicate the need for priority access </a:t>
            </a:r>
            <a:r>
              <a:rPr lang="en-US" dirty="0" smtClean="0"/>
              <a:t>to </a:t>
            </a:r>
            <a:r>
              <a:rPr lang="en-US" dirty="0" smtClean="0"/>
              <a:t>its associated AP </a:t>
            </a:r>
            <a:r>
              <a:rPr lang="en-US" dirty="0" smtClean="0"/>
              <a:t>STA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Note: The identification of the need is outside the scope of this specification.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Note: The container of the TID is TBD.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     </a:t>
            </a:r>
            <a:r>
              <a:rPr lang="en-US" b="0" dirty="0" smtClean="0"/>
              <a:t>Y</a:t>
            </a:r>
            <a:r>
              <a:rPr lang="en-US" b="0" dirty="0" smtClean="0"/>
              <a:t>: </a:t>
            </a:r>
            <a:endParaRPr lang="en-US" b="0" dirty="0"/>
          </a:p>
          <a:p>
            <a:pPr lvl="1"/>
            <a:r>
              <a:rPr lang="en-US" dirty="0"/>
              <a:t>N</a:t>
            </a:r>
            <a:r>
              <a:rPr lang="en-US" dirty="0" smtClean="0"/>
              <a:t>: </a:t>
            </a:r>
            <a:endParaRPr lang="en-US" dirty="0"/>
          </a:p>
          <a:p>
            <a:pPr lvl="1"/>
            <a:r>
              <a:rPr lang="en-US" dirty="0"/>
              <a:t>A</a:t>
            </a:r>
            <a:r>
              <a:rPr lang="en-US" dirty="0" smtClean="0"/>
              <a:t>: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37505-30A6-4468-9FBF-4970C0418B6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3099D1E7-2CFE-4362-BB72-AF97192842EA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2F8E0D-EAFB-4D32-8301-07F30E41543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9296400" y="6475414"/>
            <a:ext cx="2093384" cy="23018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Subir Das, Perspecta Labs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9979B8E-B899-49FE-94A0-62078E9E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w Poll 1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69457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xfrm>
            <a:off x="1219199" y="685801"/>
            <a:ext cx="10056285" cy="914399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 smtClean="0"/>
              <a:t>References</a:t>
            </a:r>
            <a:endParaRPr lang="en-GB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48267" y="1676400"/>
            <a:ext cx="10667999" cy="4113213"/>
          </a:xfrm>
        </p:spPr>
        <p:txBody>
          <a:bodyPr/>
          <a:lstStyle/>
          <a:p>
            <a:pPr marL="457200" indent="-457200"/>
            <a:r>
              <a:rPr lang="en-US" sz="1800" dirty="0" smtClean="0"/>
              <a:t>[1]	11-19-1901-04-00be-priority-access-support-in-ieee-802-11be-what-and-why.pptx </a:t>
            </a:r>
          </a:p>
          <a:p>
            <a:pPr marL="457200" indent="-457200"/>
            <a:r>
              <a:rPr lang="en-US" sz="1800" dirty="0" smtClean="0"/>
              <a:t>[2]    11-20-0021-01-00be-Priority-Access-support_for_NS_EP_Services.pptx</a:t>
            </a:r>
            <a:r>
              <a:rPr lang="en-US" sz="1800" dirty="0"/>
              <a:t>, </a:t>
            </a:r>
            <a:endParaRPr lang="en-US" sz="1800" dirty="0" smtClean="0"/>
          </a:p>
          <a:p>
            <a:pPr marL="457200" indent="-457200"/>
            <a:r>
              <a:rPr lang="en-US" sz="1800" dirty="0" smtClean="0"/>
              <a:t>[2]	IEEE </a:t>
            </a:r>
            <a:r>
              <a:rPr lang="en-US" sz="1800" dirty="0"/>
              <a:t>P802.11ax™/D6.0</a:t>
            </a:r>
            <a:r>
              <a:rPr lang="en-US" sz="1800" dirty="0" smtClean="0"/>
              <a:t>, “</a:t>
            </a:r>
            <a:r>
              <a:rPr lang="en-US" sz="1800" dirty="0"/>
              <a:t>Part 11: Wireless LAN Medium Access Control </a:t>
            </a:r>
            <a:r>
              <a:rPr lang="en-US" sz="1800" dirty="0" smtClean="0"/>
              <a:t>(</a:t>
            </a:r>
            <a:r>
              <a:rPr lang="en-US" sz="1800" dirty="0"/>
              <a:t>MAC) and Physical Layer (PHY) </a:t>
            </a:r>
            <a:r>
              <a:rPr lang="en-US" sz="1800" dirty="0" smtClean="0"/>
              <a:t>Specifications, Amendment </a:t>
            </a:r>
            <a:r>
              <a:rPr lang="en-US" sz="1800" dirty="0"/>
              <a:t>1: Enhancements for High </a:t>
            </a:r>
            <a:r>
              <a:rPr lang="en-US" sz="1800" dirty="0" smtClean="0"/>
              <a:t>Efficiency WLAN”,  </a:t>
            </a:r>
            <a:r>
              <a:rPr lang="en-US" sz="1800" dirty="0"/>
              <a:t>November </a:t>
            </a:r>
            <a:r>
              <a:rPr lang="en-US" sz="1800" dirty="0" smtClean="0"/>
              <a:t>2019 </a:t>
            </a:r>
          </a:p>
          <a:p>
            <a:pPr marL="457200" indent="-457200"/>
            <a:r>
              <a:rPr lang="en-US" sz="1800" dirty="0" smtClean="0"/>
              <a:t>[3] 	IEEE Std 802.11™-2016</a:t>
            </a:r>
            <a:r>
              <a:rPr lang="en-US" sz="1800" dirty="0"/>
              <a:t>, </a:t>
            </a:r>
            <a:r>
              <a:rPr lang="en-US" sz="1800" dirty="0" smtClean="0"/>
              <a:t>“Part </a:t>
            </a:r>
            <a:r>
              <a:rPr lang="en-US" sz="1800" dirty="0"/>
              <a:t>11: Wireless LAN Medium Access </a:t>
            </a:r>
            <a:r>
              <a:rPr lang="en-US" sz="1800" dirty="0" smtClean="0"/>
              <a:t>Control (</a:t>
            </a:r>
            <a:r>
              <a:rPr lang="en-US" sz="1800" dirty="0"/>
              <a:t>MAC) and Physical Layer (PHY) </a:t>
            </a:r>
            <a:r>
              <a:rPr lang="en-US" sz="1800" dirty="0" smtClean="0"/>
              <a:t>Specifications</a:t>
            </a:r>
            <a:r>
              <a:rPr lang="en-US" sz="1800" dirty="0"/>
              <a:t>”, 7 December 2016 </a:t>
            </a:r>
            <a:endParaRPr lang="en-US" sz="1800" dirty="0" smtClean="0"/>
          </a:p>
          <a:p>
            <a:pPr marL="457200" indent="-457200">
              <a:buFont typeface="+mj-lt"/>
              <a:buAutoNum type="arabicPeriod"/>
            </a:pP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531D307C-65C7-4BB3-B44A-1501D36803F7}" type="slidenum">
              <a:rPr lang="en-GB"/>
              <a:pPr/>
              <a:t>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7" name="Date Placeholder 5"/>
          <p:cNvSpPr>
            <a:spLocks noGrp="1"/>
          </p:cNvSpPr>
          <p:nvPr>
            <p:ph type="dt" idx="15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336889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9199" y="1981201"/>
            <a:ext cx="9829801" cy="3581399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This presentation covers the following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Overview of NS/EP Priority Servic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ssumption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n approach for indicating the priority access need for NS/EP Priority Service non-AP STA(s) to AP STA using  OFDMA-based Triggered Uplink Access framework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12" name="Date Placeholder 5"/>
          <p:cNvSpPr>
            <a:spLocks noGrp="1"/>
          </p:cNvSpPr>
          <p:nvPr>
            <p:ph type="dt" idx="15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une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2378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1" y="685801"/>
            <a:ext cx="10361084" cy="915985"/>
          </a:xfrm>
        </p:spPr>
        <p:txBody>
          <a:bodyPr/>
          <a:lstStyle/>
          <a:p>
            <a:r>
              <a:rPr lang="en-US" dirty="0" smtClean="0"/>
              <a:t>Overview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47800" y="1676400"/>
            <a:ext cx="10134600" cy="47244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Priority </a:t>
            </a:r>
            <a:r>
              <a:rPr lang="en-US" dirty="0"/>
              <a:t>access support </a:t>
            </a:r>
            <a:r>
              <a:rPr lang="en-US" dirty="0" smtClean="0"/>
              <a:t>for </a:t>
            </a:r>
            <a:r>
              <a:rPr lang="en-US" dirty="0"/>
              <a:t>National Security and Emergency Preparedness (NS/EP) priority services </a:t>
            </a:r>
            <a:r>
              <a:rPr lang="en-US" dirty="0" smtClean="0"/>
              <a:t>was approved as a work item </a:t>
            </a:r>
            <a:r>
              <a:rPr lang="en-US" dirty="0"/>
              <a:t>in IEEE 802.11be</a:t>
            </a:r>
            <a:r>
              <a:rPr lang="en-US" dirty="0" smtClean="0"/>
              <a:t> during January 2020 meeting [1]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O</a:t>
            </a:r>
            <a:r>
              <a:rPr lang="en-US" dirty="0" smtClean="0"/>
              <a:t>bjective Summary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 standardized </a:t>
            </a:r>
            <a:r>
              <a:rPr lang="en-US" dirty="0"/>
              <a:t>mechanism to support the NS/EP priority services in </a:t>
            </a:r>
            <a:r>
              <a:rPr lang="en-US" dirty="0" smtClean="0"/>
              <a:t>WLANs </a:t>
            </a:r>
            <a:r>
              <a:rPr lang="en-US" dirty="0"/>
              <a:t>without requiring additional </a:t>
            </a:r>
            <a:r>
              <a:rPr lang="en-US" dirty="0" smtClean="0"/>
              <a:t>infrastructur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Priority Access in IEEE 802.11be would also be beneficial to other </a:t>
            </a:r>
            <a:r>
              <a:rPr lang="en-US" dirty="0" smtClean="0"/>
              <a:t>services</a:t>
            </a:r>
            <a:r>
              <a:rPr lang="en-US" dirty="0"/>
              <a:t> </a:t>
            </a:r>
            <a:r>
              <a:rPr lang="en-US" dirty="0" smtClean="0"/>
              <a:t>( e.g., Public-Safety Mission-Critical Services, Critical </a:t>
            </a:r>
            <a:r>
              <a:rPr lang="en-US" dirty="0"/>
              <a:t>medical applications</a:t>
            </a:r>
            <a:r>
              <a:rPr lang="en-US" dirty="0" smtClean="0"/>
              <a:t>)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une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159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399" y="685801"/>
            <a:ext cx="8991601" cy="1022683"/>
          </a:xfrm>
        </p:spPr>
        <p:txBody>
          <a:bodyPr/>
          <a:lstStyle/>
          <a:p>
            <a:r>
              <a:rPr lang="en-US" dirty="0" smtClean="0"/>
              <a:t>NS/EP Priority Servi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25492" y="1600200"/>
            <a:ext cx="10361084" cy="449421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Service Objective: Provide priority access to system </a:t>
            </a:r>
            <a:r>
              <a:rPr lang="en-US" sz="1800" dirty="0"/>
              <a:t>resources for </a:t>
            </a:r>
            <a:r>
              <a:rPr lang="en-US" sz="1800" dirty="0" smtClean="0"/>
              <a:t>a limited </a:t>
            </a:r>
            <a:r>
              <a:rPr lang="en-US" sz="1800" dirty="0"/>
              <a:t>set of authorized </a:t>
            </a:r>
            <a:r>
              <a:rPr lang="en-US" sz="1800" dirty="0" smtClean="0"/>
              <a:t>users during network congestion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b="1" dirty="0" smtClean="0"/>
              <a:t>Priority </a:t>
            </a:r>
            <a:r>
              <a:rPr lang="en-US" sz="1600" b="1" dirty="0"/>
              <a:t>Access:</a:t>
            </a:r>
            <a:r>
              <a:rPr lang="en-US" sz="1600" dirty="0"/>
              <a:t> </a:t>
            </a:r>
            <a:r>
              <a:rPr lang="en-US" sz="1600" dirty="0" smtClean="0"/>
              <a:t>Allow preferred access to the wireless medium during network </a:t>
            </a:r>
            <a:r>
              <a:rPr lang="en-US" sz="1600" dirty="0"/>
              <a:t>congestion and/or </a:t>
            </a:r>
            <a:r>
              <a:rPr lang="en-US" sz="1600" dirty="0" smtClean="0"/>
              <a:t>failures to establish a data session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b="1" dirty="0" smtClean="0"/>
              <a:t>Limited Set:</a:t>
            </a:r>
            <a:r>
              <a:rPr lang="en-US" sz="1600" dirty="0" smtClean="0"/>
              <a:t> Number of users is generally a small fraction of the overall user bas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b="1" dirty="0" smtClean="0"/>
              <a:t>Authorized </a:t>
            </a:r>
            <a:r>
              <a:rPr lang="en-US" sz="1600" b="1" dirty="0"/>
              <a:t>U</a:t>
            </a:r>
            <a:r>
              <a:rPr lang="en-US" sz="1600" b="1" dirty="0" smtClean="0"/>
              <a:t>sers:</a:t>
            </a:r>
            <a:r>
              <a:rPr lang="en-US" sz="1600" dirty="0" smtClean="0"/>
              <a:t> Only available to some designated individuals who are identified to receive such servic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Existing NS/EP Priority Services in the US provide priority voice calls over public network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Government </a:t>
            </a:r>
            <a:r>
              <a:rPr lang="en-US" sz="1600" dirty="0"/>
              <a:t>Emergency </a:t>
            </a:r>
            <a:r>
              <a:rPr lang="en-US" sz="1600" dirty="0" smtClean="0"/>
              <a:t>Telecommunications Service (GETS): Landline phone network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Wireless </a:t>
            </a:r>
            <a:r>
              <a:rPr lang="en-US" sz="1600" dirty="0"/>
              <a:t>Priority </a:t>
            </a:r>
            <a:r>
              <a:rPr lang="en-US" sz="1600" dirty="0" smtClean="0"/>
              <a:t>Service (WPS): Wireless phone network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Next Generation Network Priority Services (NGN-PS): Providers’ IP-based communications network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Many </a:t>
            </a:r>
            <a:r>
              <a:rPr lang="en-US" sz="1800" dirty="0" smtClean="0"/>
              <a:t>countries have similar priority telecommunications services, e.g.,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400" dirty="0" smtClean="0"/>
              <a:t>Belgium: Blue </a:t>
            </a:r>
            <a:r>
              <a:rPr lang="en-US" sz="1400" dirty="0"/>
              <a:t>Light </a:t>
            </a:r>
            <a:r>
              <a:rPr lang="en-US" sz="1400" dirty="0" smtClean="0"/>
              <a:t>Mobile, Canada: WPS, </a:t>
            </a:r>
            <a:r>
              <a:rPr lang="en-US" sz="1400" dirty="0"/>
              <a:t>Czech Republic: Mobile Crisis Communications </a:t>
            </a:r>
            <a:r>
              <a:rPr lang="en-US" sz="1400" dirty="0" smtClean="0"/>
              <a:t>service, </a:t>
            </a:r>
            <a:r>
              <a:rPr lang="en-US" sz="1400" dirty="0"/>
              <a:t>Great Britain: </a:t>
            </a:r>
            <a:r>
              <a:rPr lang="en-US" sz="1400" dirty="0" smtClean="0"/>
              <a:t>MTPA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400" dirty="0"/>
              <a:t>GSM for Railway </a:t>
            </a:r>
            <a:r>
              <a:rPr lang="en-US" sz="1400" dirty="0" smtClean="0"/>
              <a:t>Communications deployed in multiple countries</a:t>
            </a:r>
            <a:endParaRPr lang="en-US" sz="14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NS/EP </a:t>
            </a:r>
            <a:r>
              <a:rPr lang="en-US" sz="1800" dirty="0"/>
              <a:t>Priority </a:t>
            </a:r>
            <a:r>
              <a:rPr lang="en-US" sz="1800" dirty="0" smtClean="0"/>
              <a:t>Services </a:t>
            </a:r>
            <a:r>
              <a:rPr lang="en-US" sz="1800" dirty="0"/>
              <a:t>are NOT </a:t>
            </a:r>
            <a:r>
              <a:rPr lang="en-US" sz="1800" dirty="0" smtClean="0"/>
              <a:t>Emergency </a:t>
            </a:r>
            <a:r>
              <a:rPr lang="en-US" sz="1800" dirty="0"/>
              <a:t>Services (e.g., E911 in </a:t>
            </a:r>
            <a:r>
              <a:rPr lang="en-US" sz="1800" dirty="0" smtClean="0"/>
              <a:t>US; </a:t>
            </a:r>
            <a:r>
              <a:rPr lang="en-US" sz="1800" dirty="0"/>
              <a:t>112, </a:t>
            </a:r>
            <a:r>
              <a:rPr lang="en-US" sz="1800" dirty="0" smtClean="0"/>
              <a:t>999</a:t>
            </a:r>
            <a:r>
              <a:rPr lang="en-US" sz="1800" dirty="0"/>
              <a:t>, etc. in Europe</a:t>
            </a:r>
            <a:r>
              <a:rPr lang="en-US" sz="1800" dirty="0" smtClean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idx="15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une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6569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ump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65200" y="1676400"/>
            <a:ext cx="10361084" cy="46482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NS/EP Priority Service user’s non-AP STA is associated with BSS prior to invocation of priority capabiliti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uthentication/Association and authorization occur via standard procedur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After association, AP STA  has the knowledge of which non-AP STAs are authorized to use NS/EP priority services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NS/EP Priority Service </a:t>
            </a:r>
            <a:r>
              <a:rPr lang="en-US" dirty="0" smtClean="0"/>
              <a:t>non-AP </a:t>
            </a:r>
            <a:r>
              <a:rPr lang="en-US" dirty="0"/>
              <a:t>STA will </a:t>
            </a:r>
            <a:r>
              <a:rPr lang="en-US" dirty="0" smtClean="0"/>
              <a:t>inform </a:t>
            </a:r>
            <a:r>
              <a:rPr lang="en-US" dirty="0"/>
              <a:t>the AP </a:t>
            </a:r>
            <a:r>
              <a:rPr lang="en-US" dirty="0" smtClean="0"/>
              <a:t>STA regarding the need for Priority Servic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Mechanism for communicating  the need for priority access to the AP STA is the focus of this presentation.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US" dirty="0" smtClean="0"/>
              <a:t>method of identifying the </a:t>
            </a:r>
            <a:r>
              <a:rPr lang="en-US" dirty="0"/>
              <a:t>need </a:t>
            </a:r>
            <a:r>
              <a:rPr lang="en-US" dirty="0" smtClean="0"/>
              <a:t>for priority access is </a:t>
            </a:r>
            <a:r>
              <a:rPr lang="en-US" dirty="0"/>
              <a:t>out of the scope of </a:t>
            </a:r>
            <a:r>
              <a:rPr lang="en-US" dirty="0" smtClean="0"/>
              <a:t>TGb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he priority remains in effect until terminated by either party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NS/EP Priority Service non-AP STA supports UL MU-MIMO operation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idx="15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une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8159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alizing NS/EP Priority Service Concept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2228" y="1757936"/>
            <a:ext cx="10415372" cy="4338064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NS/EP non-AP STA associates with AP S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Managed AP/AP Controller  retrieves user’s </a:t>
            </a:r>
            <a:r>
              <a:rPr lang="en-US" sz="1800" dirty="0" smtClean="0">
                <a:solidFill>
                  <a:schemeClr val="tx1"/>
                </a:solidFill>
              </a:rPr>
              <a:t>NS/EP</a:t>
            </a:r>
            <a:r>
              <a:rPr lang="en-US" sz="1800" dirty="0" smtClean="0"/>
              <a:t> priority attributes (e.g., </a:t>
            </a:r>
            <a:r>
              <a:rPr lang="en-US" sz="1800" dirty="0" smtClean="0">
                <a:solidFill>
                  <a:schemeClr val="tx1"/>
                </a:solidFill>
              </a:rPr>
              <a:t>user </a:t>
            </a:r>
            <a:r>
              <a:rPr lang="en-US" sz="1800" dirty="0" smtClean="0"/>
              <a:t>priority level, </a:t>
            </a:r>
            <a:r>
              <a:rPr lang="en-US" sz="1800" dirty="0" smtClean="0">
                <a:solidFill>
                  <a:srgbClr val="FF0000"/>
                </a:solidFill>
              </a:rPr>
              <a:t> </a:t>
            </a:r>
            <a:r>
              <a:rPr lang="en-US" sz="1800" dirty="0" smtClean="0"/>
              <a:t>credentials, etc.) during associa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Managed AP/AP Controller verifies authorization to use NS/EP </a:t>
            </a:r>
            <a:r>
              <a:rPr lang="en-US" sz="1800" dirty="0" smtClean="0">
                <a:solidFill>
                  <a:schemeClr val="tx1"/>
                </a:solidFill>
              </a:rPr>
              <a:t>priority </a:t>
            </a:r>
            <a:r>
              <a:rPr lang="en-US" sz="1800" dirty="0" smtClean="0"/>
              <a:t>service via access/service provider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Managed AP/AP Controller </a:t>
            </a:r>
            <a:r>
              <a:rPr lang="en-US" sz="1800" dirty="0" smtClean="0"/>
              <a:t>caches </a:t>
            </a:r>
            <a:r>
              <a:rPr lang="en-US" sz="1800" dirty="0"/>
              <a:t>the non-AP STA’s NS/EP priority service </a:t>
            </a:r>
            <a:r>
              <a:rPr lang="en-US" sz="1800" dirty="0" smtClean="0"/>
              <a:t>profil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Non-AP STA user indicates* </a:t>
            </a:r>
            <a:r>
              <a:rPr lang="en-US" sz="2000" dirty="0" smtClean="0">
                <a:solidFill>
                  <a:schemeClr val="tx1"/>
                </a:solidFill>
              </a:rPr>
              <a:t>priority for a </a:t>
            </a:r>
            <a:r>
              <a:rPr lang="en-US" sz="2000" dirty="0" smtClean="0"/>
              <a:t>NS/EP </a:t>
            </a:r>
            <a:r>
              <a:rPr lang="en-US" sz="2000" dirty="0" smtClean="0">
                <a:solidFill>
                  <a:schemeClr val="tx1"/>
                </a:solidFill>
              </a:rPr>
              <a:t>session</a:t>
            </a:r>
            <a:r>
              <a:rPr lang="en-US" sz="2000" dirty="0" smtClean="0"/>
              <a:t> on-demand (e.g., when experiencing poor network performance) by signaling the need for priority acces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Mechanism for determining the need for invoking this service is out of scop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Goal of NS/EP priority is to support existing access-category QoS even under congestion (e.g., serve NS/EP non-AP STAs first) 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Non-AP STA user </a:t>
            </a:r>
            <a:r>
              <a:rPr lang="en-US" sz="2000" dirty="0" smtClean="0">
                <a:solidFill>
                  <a:schemeClr val="tx1"/>
                </a:solidFill>
              </a:rPr>
              <a:t>deactivates NS/EP priority service</a:t>
            </a:r>
            <a:r>
              <a:rPr lang="en-US" sz="2000" dirty="0" smtClean="0"/>
              <a:t> when </a:t>
            </a:r>
            <a:r>
              <a:rPr lang="en-US" sz="2000" dirty="0" smtClean="0">
                <a:solidFill>
                  <a:schemeClr val="tx1"/>
                </a:solidFill>
              </a:rPr>
              <a:t>priority is </a:t>
            </a:r>
            <a:r>
              <a:rPr lang="en-US" sz="2000" dirty="0" smtClean="0"/>
              <a:t>no longer neede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e.g., session is over, network conditions return to norm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40F5867-744E-4AA6-B0ED-4C44D2DFBB7B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1066800" y="6139935"/>
            <a:ext cx="8001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/>
            <a:r>
              <a:rPr lang="en-US" sz="1800" dirty="0">
                <a:solidFill>
                  <a:schemeClr val="tx1"/>
                </a:solidFill>
              </a:rPr>
              <a:t>* </a:t>
            </a:r>
            <a:r>
              <a:rPr lang="en-US" sz="1400" dirty="0">
                <a:solidFill>
                  <a:schemeClr val="tx1"/>
                </a:solidFill>
              </a:rPr>
              <a:t>Note: This is </a:t>
            </a:r>
            <a:r>
              <a:rPr lang="en-US" sz="1400" dirty="0" smtClean="0">
                <a:solidFill>
                  <a:schemeClr val="tx1"/>
                </a:solidFill>
              </a:rPr>
              <a:t>low-frequency event due to limited use for NS/EP purposes </a:t>
            </a:r>
            <a:r>
              <a:rPr lang="en-US" sz="1400" dirty="0">
                <a:solidFill>
                  <a:schemeClr val="tx1"/>
                </a:solidFill>
              </a:rPr>
              <a:t>(Ref[1])</a:t>
            </a:r>
          </a:p>
        </p:txBody>
      </p:sp>
    </p:spTree>
    <p:extLst>
      <p:ext uri="{BB962C8B-B14F-4D97-AF65-F5344CB8AC3E}">
        <p14:creationId xmlns:p14="http://schemas.microsoft.com/office/powerpoint/2010/main" val="3987962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 smtClean="0"/>
              <a:t>Network Architecture (Simplified)  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531D307C-65C7-4BB3-B44A-1501D36803F7}" type="slidenum">
              <a:rPr lang="en-GB"/>
              <a:pPr/>
              <a:t>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2756554" y="2271041"/>
            <a:ext cx="717472" cy="400110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Regular STA</a:t>
            </a: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4662553" y="2239191"/>
            <a:ext cx="397792" cy="276999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kern="0" dirty="0" smtClean="0">
                <a:solidFill>
                  <a:srgbClr val="000000"/>
                </a:solidFill>
                <a:ea typeface="+mn-ea"/>
              </a:rPr>
              <a:t>AP</a:t>
            </a:r>
            <a:endParaRPr kumimoji="0" lang="en-US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4657571" y="3763191"/>
            <a:ext cx="397792" cy="276999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kern="0" dirty="0" smtClean="0">
                <a:solidFill>
                  <a:srgbClr val="000000"/>
                </a:solidFill>
                <a:ea typeface="+mn-ea"/>
              </a:rPr>
              <a:t>AP</a:t>
            </a:r>
            <a:endParaRPr kumimoji="0" lang="en-US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5795657" y="2696391"/>
            <a:ext cx="1252254" cy="646331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Access Controller/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Gateway</a:t>
            </a:r>
          </a:p>
        </p:txBody>
      </p:sp>
      <p:sp>
        <p:nvSpPr>
          <p:cNvPr id="12" name="Line 9"/>
          <p:cNvSpPr>
            <a:spLocks noChangeShapeType="1"/>
          </p:cNvSpPr>
          <p:nvPr/>
        </p:nvSpPr>
        <p:spPr bwMode="auto">
          <a:xfrm>
            <a:off x="5054934" y="2391591"/>
            <a:ext cx="717472" cy="5334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13" name="Line 10"/>
          <p:cNvSpPr>
            <a:spLocks noChangeShapeType="1"/>
          </p:cNvSpPr>
          <p:nvPr/>
        </p:nvSpPr>
        <p:spPr bwMode="auto">
          <a:xfrm flipV="1">
            <a:off x="5054934" y="3229791"/>
            <a:ext cx="717472" cy="6858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14" name="Line 11"/>
          <p:cNvSpPr>
            <a:spLocks noChangeShapeType="1"/>
          </p:cNvSpPr>
          <p:nvPr/>
        </p:nvSpPr>
        <p:spPr bwMode="auto">
          <a:xfrm>
            <a:off x="7207349" y="3153591"/>
            <a:ext cx="103634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4496900" y="2162991"/>
            <a:ext cx="2710449" cy="2057400"/>
          </a:xfrm>
          <a:prstGeom prst="rect">
            <a:avLst/>
          </a:prstGeom>
          <a:noFill/>
          <a:ln w="25400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17" name="Rectangle 14"/>
          <p:cNvSpPr>
            <a:spLocks noChangeArrowheads="1"/>
          </p:cNvSpPr>
          <p:nvPr/>
        </p:nvSpPr>
        <p:spPr bwMode="auto">
          <a:xfrm>
            <a:off x="8243697" y="2239191"/>
            <a:ext cx="1275505" cy="1981200"/>
          </a:xfrm>
          <a:prstGeom prst="rect">
            <a:avLst/>
          </a:prstGeom>
          <a:noFill/>
          <a:ln w="25400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2756554" y="2843283"/>
            <a:ext cx="918431" cy="553998"/>
          </a:xfrm>
          <a:prstGeom prst="rect">
            <a:avLst/>
          </a:prstGeom>
          <a:noFill/>
          <a:ln w="25400">
            <a:solidFill>
              <a:schemeClr val="accent2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NS/EP Authorized </a:t>
            </a:r>
            <a:r>
              <a:rPr kumimoji="0" lang="en-US" altLang="en-US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 STA</a:t>
            </a:r>
            <a:endParaRPr kumimoji="0" lang="en-US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22" name="Text Box 22"/>
          <p:cNvSpPr txBox="1">
            <a:spLocks noChangeArrowheads="1"/>
          </p:cNvSpPr>
          <p:nvPr/>
        </p:nvSpPr>
        <p:spPr bwMode="auto">
          <a:xfrm>
            <a:off x="4975215" y="1830390"/>
            <a:ext cx="18014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1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 Wi-Fi </a:t>
            </a:r>
            <a:r>
              <a:rPr kumimoji="0" lang="en-US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Access Provider</a:t>
            </a:r>
          </a:p>
        </p:txBody>
      </p:sp>
      <p:sp>
        <p:nvSpPr>
          <p:cNvPr id="23" name="Text Box 23"/>
          <p:cNvSpPr txBox="1">
            <a:spLocks noChangeArrowheads="1"/>
          </p:cNvSpPr>
          <p:nvPr/>
        </p:nvSpPr>
        <p:spPr bwMode="auto">
          <a:xfrm>
            <a:off x="8301803" y="1859300"/>
            <a:ext cx="115929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b="1" kern="0" dirty="0" smtClean="0">
                <a:solidFill>
                  <a:srgbClr val="000000"/>
                </a:solidFill>
                <a:ea typeface="+mn-ea"/>
              </a:rPr>
              <a:t>Core Network </a:t>
            </a:r>
            <a:endParaRPr kumimoji="0" lang="en-US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26" name="Freeform 36"/>
          <p:cNvSpPr>
            <a:spLocks/>
          </p:cNvSpPr>
          <p:nvPr>
            <p:custDataLst>
              <p:tags r:id="rId1"/>
            </p:custDataLst>
          </p:nvPr>
        </p:nvSpPr>
        <p:spPr bwMode="auto">
          <a:xfrm flipH="1" flipV="1">
            <a:off x="3730193" y="2507934"/>
            <a:ext cx="841846" cy="627965"/>
          </a:xfrm>
          <a:custGeom>
            <a:avLst/>
            <a:gdLst>
              <a:gd name="T0" fmla="*/ 1074 w 203"/>
              <a:gd name="T1" fmla="*/ 0 h 321"/>
              <a:gd name="T2" fmla="*/ 557 w 203"/>
              <a:gd name="T3" fmla="*/ 153 h 321"/>
              <a:gd name="T4" fmla="*/ 557 w 203"/>
              <a:gd name="T5" fmla="*/ 132 h 321"/>
              <a:gd name="T6" fmla="*/ 0 w 203"/>
              <a:gd name="T7" fmla="*/ 277 h 321"/>
              <a:gd name="T8" fmla="*/ 513 w 203"/>
              <a:gd name="T9" fmla="*/ 169 h 321"/>
              <a:gd name="T10" fmla="*/ 513 w 203"/>
              <a:gd name="T11" fmla="*/ 201 h 321"/>
              <a:gd name="T12" fmla="*/ 1074 w 203"/>
              <a:gd name="T13" fmla="*/ 0 h 3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3" h="321">
                <a:moveTo>
                  <a:pt x="203" y="0"/>
                </a:moveTo>
                <a:lnTo>
                  <a:pt x="105" y="178"/>
                </a:lnTo>
                <a:lnTo>
                  <a:pt x="105" y="153"/>
                </a:lnTo>
                <a:lnTo>
                  <a:pt x="0" y="321"/>
                </a:lnTo>
                <a:lnTo>
                  <a:pt x="97" y="196"/>
                </a:lnTo>
                <a:lnTo>
                  <a:pt x="97" y="233"/>
                </a:lnTo>
                <a:lnTo>
                  <a:pt x="203" y="0"/>
                </a:lnTo>
              </a:path>
            </a:pathLst>
          </a:custGeom>
          <a:solidFill>
            <a:schemeClr val="accent2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7" name="Freeform 36"/>
          <p:cNvSpPr>
            <a:spLocks/>
          </p:cNvSpPr>
          <p:nvPr>
            <p:custDataLst>
              <p:tags r:id="rId2"/>
            </p:custDataLst>
          </p:nvPr>
        </p:nvSpPr>
        <p:spPr bwMode="auto">
          <a:xfrm flipH="1" flipV="1">
            <a:off x="3458810" y="2315390"/>
            <a:ext cx="1051563" cy="212223"/>
          </a:xfrm>
          <a:custGeom>
            <a:avLst/>
            <a:gdLst>
              <a:gd name="T0" fmla="*/ 1074 w 203"/>
              <a:gd name="T1" fmla="*/ 0 h 321"/>
              <a:gd name="T2" fmla="*/ 557 w 203"/>
              <a:gd name="T3" fmla="*/ 153 h 321"/>
              <a:gd name="T4" fmla="*/ 557 w 203"/>
              <a:gd name="T5" fmla="*/ 132 h 321"/>
              <a:gd name="T6" fmla="*/ 0 w 203"/>
              <a:gd name="T7" fmla="*/ 277 h 321"/>
              <a:gd name="T8" fmla="*/ 513 w 203"/>
              <a:gd name="T9" fmla="*/ 169 h 321"/>
              <a:gd name="T10" fmla="*/ 513 w 203"/>
              <a:gd name="T11" fmla="*/ 201 h 321"/>
              <a:gd name="T12" fmla="*/ 1074 w 203"/>
              <a:gd name="T13" fmla="*/ 0 h 3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3" h="321">
                <a:moveTo>
                  <a:pt x="203" y="0"/>
                </a:moveTo>
                <a:lnTo>
                  <a:pt x="105" y="178"/>
                </a:lnTo>
                <a:lnTo>
                  <a:pt x="105" y="153"/>
                </a:lnTo>
                <a:lnTo>
                  <a:pt x="0" y="321"/>
                </a:lnTo>
                <a:lnTo>
                  <a:pt x="97" y="196"/>
                </a:lnTo>
                <a:lnTo>
                  <a:pt x="97" y="233"/>
                </a:lnTo>
                <a:lnTo>
                  <a:pt x="203" y="0"/>
                </a:lnTo>
              </a:path>
            </a:pathLst>
          </a:custGeom>
          <a:solidFill>
            <a:schemeClr val="tx1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838200" y="4613337"/>
            <a:ext cx="1066800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b="1" kern="0" dirty="0">
                <a:solidFill>
                  <a:srgbClr val="000000"/>
                </a:solidFill>
                <a:latin typeface="Times New Roman"/>
                <a:ea typeface="MS Gothic"/>
              </a:rPr>
              <a:t>The s</a:t>
            </a:r>
            <a:r>
              <a:rPr lang="en-US" altLang="en-US" b="1" kern="0" dirty="0" smtClean="0">
                <a:solidFill>
                  <a:srgbClr val="000000"/>
                </a:solidFill>
                <a:latin typeface="Times New Roman"/>
                <a:ea typeface="MS Gothic"/>
              </a:rPr>
              <a:t>ervice </a:t>
            </a:r>
            <a:r>
              <a:rPr lang="en-US" altLang="en-US" b="1" kern="0" dirty="0">
                <a:solidFill>
                  <a:srgbClr val="000000"/>
                </a:solidFill>
                <a:latin typeface="Times New Roman"/>
                <a:ea typeface="MS Gothic"/>
              </a:rPr>
              <a:t>provider </a:t>
            </a:r>
            <a:r>
              <a:rPr lang="en-US" altLang="en-US" b="1" kern="0" dirty="0" smtClean="0">
                <a:solidFill>
                  <a:srgbClr val="000000"/>
                </a:solidFill>
                <a:latin typeface="Times New Roman"/>
                <a:ea typeface="MS Gothic"/>
              </a:rPr>
              <a:t>and/or the access provider are(is) responsible for identifying, authenticating </a:t>
            </a:r>
            <a:r>
              <a:rPr lang="en-US" altLang="en-US" b="1" kern="0" dirty="0">
                <a:solidFill>
                  <a:srgbClr val="000000"/>
                </a:solidFill>
                <a:latin typeface="Times New Roman"/>
                <a:ea typeface="MS Gothic"/>
              </a:rPr>
              <a:t>and </a:t>
            </a:r>
            <a:r>
              <a:rPr lang="en-US" altLang="en-US" b="1" kern="0" dirty="0" smtClean="0">
                <a:solidFill>
                  <a:srgbClr val="000000"/>
                </a:solidFill>
                <a:latin typeface="Times New Roman"/>
                <a:ea typeface="MS Gothic"/>
              </a:rPr>
              <a:t>authorizing a NS/EP STA for priority access </a:t>
            </a:r>
            <a:endParaRPr lang="en-US" altLang="en-US" b="1" kern="0" dirty="0">
              <a:solidFill>
                <a:srgbClr val="000000"/>
              </a:solidFill>
              <a:latin typeface="Times New Roman"/>
              <a:ea typeface="MS Gothic"/>
            </a:endParaRPr>
          </a:p>
          <a:p>
            <a:pPr marL="1085850" lvl="1" indent="-342900" algn="just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kern="0" dirty="0" smtClean="0">
                <a:solidFill>
                  <a:srgbClr val="000000"/>
                </a:solidFill>
                <a:latin typeface="Times New Roman"/>
                <a:ea typeface="MS Gothic"/>
              </a:rPr>
              <a:t>The capabilities are exchanged during authentication/association </a:t>
            </a:r>
          </a:p>
          <a:p>
            <a:pPr marL="1085850" lvl="1" indent="-342900" algn="just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kern="0" dirty="0" smtClean="0">
                <a:solidFill>
                  <a:srgbClr val="000000"/>
                </a:solidFill>
                <a:latin typeface="Times New Roman"/>
                <a:ea typeface="MS Gothic"/>
              </a:rPr>
              <a:t>The additional element in ‘Capability IE’ is TBD </a:t>
            </a:r>
            <a:endParaRPr lang="en-US" altLang="en-US" sz="2000" kern="0" dirty="0">
              <a:solidFill>
                <a:srgbClr val="000000"/>
              </a:solidFill>
              <a:latin typeface="Times New Roman"/>
              <a:ea typeface="MS Gothic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808550" y="3835821"/>
            <a:ext cx="195008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tx1"/>
                </a:solidFill>
              </a:rPr>
              <a:t>STA- Wi-Fi Device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AP- Wi-Fi Access Point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" name="Text Box 16"/>
          <p:cNvSpPr txBox="1">
            <a:spLocks noChangeArrowheads="1"/>
          </p:cNvSpPr>
          <p:nvPr/>
        </p:nvSpPr>
        <p:spPr bwMode="auto">
          <a:xfrm>
            <a:off x="8621838" y="2790974"/>
            <a:ext cx="644932" cy="276999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AAA</a:t>
            </a:r>
          </a:p>
        </p:txBody>
      </p:sp>
    </p:spTree>
    <p:extLst>
      <p:ext uri="{BB962C8B-B14F-4D97-AF65-F5344CB8AC3E}">
        <p14:creationId xmlns:p14="http://schemas.microsoft.com/office/powerpoint/2010/main" val="16451148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Approach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9217" y="2209800"/>
            <a:ext cx="10361084" cy="2514599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Use existing  BSRP Trigger Frame  and extend QoS Control Field format to indicate the NS/EP Priority Service non-AP STA’s Priority Access need  in buffer status report   </a:t>
            </a:r>
          </a:p>
          <a:p>
            <a:pPr marL="457200" lvl="1" indent="0"/>
            <a:endParaRPr lang="en-US" dirty="0" smtClean="0"/>
          </a:p>
          <a:p>
            <a:pPr lvl="2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40F5867-744E-4AA6-B0ED-4C44D2DFBB7B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93555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of OFDMA .11ax Triggered Uplink Access for NS/EP Priority Servi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1" y="1981201"/>
            <a:ext cx="10361084" cy="3962399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Enabling priority in OFDMA scheduling (in presence of network congestion)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AP STA polls non-AP STAs using BSRP Trigger Frame to determine data to be sent upstream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Subsequent messages may not require a Trigger Fram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NS/EP Priority Service  non-AP STA reports access class and buffer status with priority indication</a:t>
            </a:r>
          </a:p>
          <a:p>
            <a:pPr marL="1200150" lvl="2" indent="-342900">
              <a:buFont typeface="Arial" panose="020B0604020202020204" pitchFamily="34" charset="0"/>
              <a:buChar char="•"/>
            </a:pPr>
            <a:r>
              <a:rPr lang="en-US" dirty="0"/>
              <a:t>Proposed enhancement enables STA to provide priority </a:t>
            </a:r>
            <a:r>
              <a:rPr lang="en-US" dirty="0" smtClean="0"/>
              <a:t>indica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AP STA verifies authorization for NS/EP Priority Service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AP STA incorporates priority  into scheduling and RU-allocation decisions for NS/EP Priority Service non-AP STA </a:t>
            </a:r>
          </a:p>
          <a:p>
            <a:pPr lvl="1"/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40F5867-744E-4AA6-B0ED-4C44D2DFBB7B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7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ne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1329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2VWfWutkyzp15zWLyZ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2VWfWutkyzp15zWLyZDA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802-11-Submission-16-9.potx" id="{5CD6ABF7-B8BD-443A-9DC0-E5B38AC683DA}" vid="{19A33F2F-E7B4-4D20-A394-337028C24156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802-11-Submission-16-9</Template>
  <TotalTime>76512</TotalTime>
  <Words>1935</Words>
  <Application>Microsoft Office PowerPoint</Application>
  <PresentationFormat>Widescreen</PresentationFormat>
  <Paragraphs>257</Paragraphs>
  <Slides>1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 Unicode MS</vt:lpstr>
      <vt:lpstr>MS Gothic</vt:lpstr>
      <vt:lpstr>Arial</vt:lpstr>
      <vt:lpstr>Calibri</vt:lpstr>
      <vt:lpstr>Times New Roman</vt:lpstr>
      <vt:lpstr>Office Theme</vt:lpstr>
      <vt:lpstr>Document</vt:lpstr>
      <vt:lpstr>Priority Access Support Option for NS/EP Services</vt:lpstr>
      <vt:lpstr>Outline </vt:lpstr>
      <vt:lpstr>Overview </vt:lpstr>
      <vt:lpstr>NS/EP Priority Services</vt:lpstr>
      <vt:lpstr>Assumptions</vt:lpstr>
      <vt:lpstr>Realizing NS/EP Priority Service Concept </vt:lpstr>
      <vt:lpstr>Network Architecture (Simplified)  </vt:lpstr>
      <vt:lpstr>Proposed Approach </vt:lpstr>
      <vt:lpstr>Use of OFDMA .11ax Triggered Uplink Access for NS/EP Priority Services</vt:lpstr>
      <vt:lpstr>QoS Control Field Format for IEEE 802.11ax </vt:lpstr>
      <vt:lpstr>Proposed Approach: Use QoS Control Field    </vt:lpstr>
      <vt:lpstr>NS/EP Priority Access Procedures     </vt:lpstr>
      <vt:lpstr>NS/EP Priority Access Procedures Contd..     </vt:lpstr>
      <vt:lpstr>Additional Clarifications</vt:lpstr>
      <vt:lpstr>Summary</vt:lpstr>
      <vt:lpstr>Straw Poll 1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ority Access for IEEE 802.11be: What and Why?</dc:title>
  <dc:creator>Das, Subir</dc:creator>
  <cp:lastModifiedBy>Das, Subir</cp:lastModifiedBy>
  <cp:revision>731</cp:revision>
  <cp:lastPrinted>1601-01-01T00:00:00Z</cp:lastPrinted>
  <dcterms:created xsi:type="dcterms:W3CDTF">2019-10-02T12:54:36Z</dcterms:created>
  <dcterms:modified xsi:type="dcterms:W3CDTF">2020-06-10T15:39:22Z</dcterms:modified>
</cp:coreProperties>
</file>